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  <p:sldMasterId id="2147483659" r:id="rId2"/>
  </p:sldMasterIdLst>
  <p:notesMasterIdLst>
    <p:notesMasterId r:id="rId25"/>
  </p:notesMasterIdLst>
  <p:handoutMasterIdLst>
    <p:handoutMasterId r:id="rId26"/>
  </p:handoutMasterIdLst>
  <p:sldIdLst>
    <p:sldId id="257" r:id="rId3"/>
    <p:sldId id="289" r:id="rId4"/>
    <p:sldId id="290" r:id="rId5"/>
    <p:sldId id="292" r:id="rId6"/>
    <p:sldId id="291" r:id="rId7"/>
    <p:sldId id="293" r:id="rId8"/>
    <p:sldId id="295" r:id="rId9"/>
    <p:sldId id="296" r:id="rId10"/>
    <p:sldId id="297" r:id="rId11"/>
    <p:sldId id="298" r:id="rId12"/>
    <p:sldId id="299" r:id="rId13"/>
    <p:sldId id="302" r:id="rId14"/>
    <p:sldId id="309" r:id="rId15"/>
    <p:sldId id="310" r:id="rId16"/>
    <p:sldId id="300" r:id="rId17"/>
    <p:sldId id="301" r:id="rId18"/>
    <p:sldId id="304" r:id="rId19"/>
    <p:sldId id="303" r:id="rId20"/>
    <p:sldId id="308" r:id="rId21"/>
    <p:sldId id="305" r:id="rId22"/>
    <p:sldId id="306" r:id="rId23"/>
    <p:sldId id="307" r:id="rId24"/>
  </p:sldIdLst>
  <p:sldSz cx="12192000" cy="6858000"/>
  <p:notesSz cx="6805613" cy="9939338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>
          <p15:clr>
            <a:srgbClr val="A4A3A4"/>
          </p15:clr>
        </p15:guide>
        <p15:guide id="2" pos="214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F4F4F"/>
    <a:srgbClr val="1E1E1E"/>
    <a:srgbClr val="323232"/>
    <a:srgbClr val="666666"/>
    <a:srgbClr val="949494"/>
    <a:srgbClr val="8A8A8A"/>
    <a:srgbClr val="848484"/>
    <a:srgbClr val="8E8E8E"/>
    <a:srgbClr val="9436D4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511" autoAdjust="0"/>
    <p:restoredTop sz="94660"/>
  </p:normalViewPr>
  <p:slideViewPr>
    <p:cSldViewPr>
      <p:cViewPr varScale="1">
        <p:scale>
          <a:sx n="83" d="100"/>
          <a:sy n="83" d="100"/>
        </p:scale>
        <p:origin x="156" y="28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79" d="100"/>
          <a:sy n="79" d="100"/>
        </p:scale>
        <p:origin x="3954" y="102"/>
      </p:cViewPr>
      <p:guideLst>
        <p:guide orient="horz" pos="3131"/>
        <p:guide pos="214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445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9EBE99-4A44-4BB3-9874-C4FDEB1CE382}" type="datetimeFigureOut">
              <a:rPr lang="en-US" smtClean="0"/>
              <a:t>11/19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4450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D9EEE0E-9B25-4F0A-A2A6-9C347BB3FC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0447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254339-AE65-48AF-BAEF-CCCA4BF421E7}" type="datetimeFigureOut">
              <a:rPr lang="en-US" smtClean="0"/>
              <a:t>11/19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573088" y="496888"/>
            <a:ext cx="7951788" cy="4473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5218153"/>
            <a:ext cx="5444490" cy="397573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0646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39" y="9440646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887228-6D3D-40D1-925F-6A0D7A3BF6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83678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6213" indent="-17145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58775" indent="-171450" algn="l" defTabSz="914400" rtl="0" eaLnBrk="1" latinLnBrk="0" hangingPunct="1">
      <a:buFont typeface="Arial" pitchFamily="34" charset="0"/>
      <a:buChar char="‒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1450" algn="l" defTabSz="914400" rtl="0" eaLnBrk="1" latinLnBrk="0" hangingPunct="1">
      <a:buFont typeface="Courier New" pitchFamily="49" charset="0"/>
      <a:buChar char="o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1200" indent="-171450" algn="l" defTabSz="914400" rtl="0" eaLnBrk="1" latinLnBrk="0" hangingPunct="1"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573088" y="496888"/>
            <a:ext cx="7951788" cy="4473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887228-6D3D-40D1-925F-6A0D7A3BF689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13473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573088" y="496888"/>
            <a:ext cx="7951788" cy="4473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887228-6D3D-40D1-925F-6A0D7A3BF689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53148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573088" y="496888"/>
            <a:ext cx="7951788" cy="4473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887228-6D3D-40D1-925F-6A0D7A3BF689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21892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06400" y="279856"/>
            <a:ext cx="11379200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>
              <a:buNone/>
              <a:defRPr sz="2800" b="0">
                <a:solidFill>
                  <a:srgbClr val="323232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406400" y="914401"/>
            <a:ext cx="11379200" cy="14280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 typeface="Arial" pitchFamily="34" charset="0"/>
              <a:buNone/>
              <a:defRPr sz="1600">
                <a:solidFill>
                  <a:srgbClr val="1E1E1E"/>
                </a:solidFill>
                <a:latin typeface="+mn-lt"/>
              </a:defRPr>
            </a:lvl1pPr>
            <a:lvl2pPr marL="228600" indent="-171450">
              <a:buFont typeface="Arial" pitchFamily="34" charset="0"/>
              <a:buChar char="•"/>
              <a:defRPr sz="1600">
                <a:solidFill>
                  <a:srgbClr val="1E1E1E"/>
                </a:solidFill>
                <a:latin typeface="+mn-lt"/>
              </a:defRPr>
            </a:lvl2pPr>
            <a:lvl3pPr marL="400050" indent="-171450">
              <a:buFont typeface="Arial" pitchFamily="34" charset="0"/>
              <a:buChar char="‒"/>
              <a:defRPr sz="1600">
                <a:solidFill>
                  <a:srgbClr val="1E1E1E"/>
                </a:solidFill>
                <a:latin typeface="+mn-lt"/>
              </a:defRPr>
            </a:lvl3pPr>
            <a:lvl4pPr marL="685800" indent="-228600">
              <a:buFont typeface="Courier New" pitchFamily="49" charset="0"/>
              <a:buChar char="o"/>
              <a:defRPr sz="1600">
                <a:solidFill>
                  <a:srgbClr val="1E1E1E"/>
                </a:solidFill>
                <a:latin typeface="+mn-lt"/>
              </a:defRPr>
            </a:lvl4pPr>
            <a:lvl5pPr marL="857250" indent="-171450">
              <a:buFont typeface="Arial" pitchFamily="34" charset="0"/>
              <a:buChar char="▪"/>
              <a:defRPr sz="1600">
                <a:solidFill>
                  <a:srgbClr val="1E1E1E"/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152400" y="5934766"/>
            <a:ext cx="11811000" cy="33855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Font typeface="Arial" panose="020B0604020202020204" pitchFamily="34" charset="0"/>
              <a:buNone/>
              <a:defRPr lang="en-US" sz="1000" dirty="0" smtClean="0"/>
            </a:lvl1pPr>
          </a:lstStyle>
          <a:p>
            <a:pPr marL="177800" lvl="0" indent="-177800">
              <a:buAutoNum type="arabicParenR"/>
            </a:pPr>
            <a:r>
              <a:rPr lang="en-US" dirty="0" smtClean="0"/>
              <a:t>Click to edit master text styles</a:t>
            </a:r>
          </a:p>
          <a:p>
            <a:pPr marL="177800" lvl="0" indent="-177800"/>
            <a:r>
              <a:rPr lang="en-US" dirty="0" smtClean="0"/>
              <a:t>Source:  </a:t>
            </a:r>
          </a:p>
        </p:txBody>
      </p:sp>
    </p:spTree>
    <p:extLst>
      <p:ext uri="{BB962C8B-B14F-4D97-AF65-F5344CB8AC3E}">
        <p14:creationId xmlns:p14="http://schemas.microsoft.com/office/powerpoint/2010/main" val="35317995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06400" y="279856"/>
            <a:ext cx="11379200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>
              <a:buNone/>
              <a:defRPr sz="2800" b="0">
                <a:solidFill>
                  <a:srgbClr val="666666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406400" y="914401"/>
            <a:ext cx="11379200" cy="14280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 typeface="Arial" pitchFamily="34" charset="0"/>
              <a:buNone/>
              <a:defRPr sz="1600">
                <a:solidFill>
                  <a:schemeClr val="tx1">
                    <a:lumMod val="50000"/>
                  </a:schemeClr>
                </a:solidFill>
                <a:latin typeface="+mn-lt"/>
              </a:defRPr>
            </a:lvl1pPr>
            <a:lvl2pPr marL="228600" indent="-171450">
              <a:buFont typeface="Arial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+mn-lt"/>
              </a:defRPr>
            </a:lvl2pPr>
            <a:lvl3pPr marL="400050" indent="-171450">
              <a:buFont typeface="Arial" pitchFamily="34" charset="0"/>
              <a:buChar char="‒"/>
              <a:defRPr sz="1600">
                <a:solidFill>
                  <a:schemeClr val="tx1">
                    <a:lumMod val="50000"/>
                  </a:schemeClr>
                </a:solidFill>
                <a:latin typeface="+mn-lt"/>
              </a:defRPr>
            </a:lvl3pPr>
            <a:lvl4pPr marL="685800" indent="-228600">
              <a:buFont typeface="Courier New" pitchFamily="49" charset="0"/>
              <a:buChar char="o"/>
              <a:defRPr sz="1600">
                <a:solidFill>
                  <a:schemeClr val="tx1">
                    <a:lumMod val="50000"/>
                  </a:schemeClr>
                </a:solidFill>
                <a:latin typeface="+mn-lt"/>
              </a:defRPr>
            </a:lvl4pPr>
            <a:lvl5pPr marL="857250" indent="-171450">
              <a:buFont typeface="Arial" pitchFamily="34" charset="0"/>
              <a:buChar char="▪"/>
              <a:defRPr sz="1600">
                <a:solidFill>
                  <a:schemeClr val="tx1">
                    <a:lumMod val="5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71354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49199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29"/>
          <p:cNvSpPr>
            <a:spLocks noGrp="1"/>
          </p:cNvSpPr>
          <p:nvPr>
            <p:ph type="ctrTitle" hasCustomPrompt="1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 anchor="ctr"/>
          <a:lstStyle>
            <a:lvl1pPr algn="ctr">
              <a:defRPr b="0">
                <a:solidFill>
                  <a:srgbClr val="323232"/>
                </a:solidFill>
              </a:defRPr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7" name="Subtitle 30"/>
          <p:cNvSpPr>
            <a:spLocks noGrp="1"/>
          </p:cNvSpPr>
          <p:nvPr>
            <p:ph type="subTitle" idx="1" hasCustomPrompt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>
                <a:solidFill>
                  <a:srgbClr val="323232"/>
                </a:solidFill>
              </a:defRPr>
            </a:lvl1pPr>
          </a:lstStyle>
          <a:p>
            <a:r>
              <a:rPr lang="en-US" dirty="0" smtClean="0"/>
              <a:t>Click to edit subtitl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0" y="5867400"/>
            <a:ext cx="12192000" cy="990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1120" y="506602"/>
            <a:ext cx="3349759" cy="1338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13008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vmlDrawing" Target="../drawings/vmlDrawing2.vml"/><Relationship Id="rId7" Type="http://schemas.openxmlformats.org/officeDocument/2006/relationships/image" Target="../media/image2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7826086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0" y="6324600"/>
            <a:ext cx="12192000" cy="533400"/>
          </a:xfrm>
          <a:prstGeom prst="rect">
            <a:avLst/>
          </a:prstGeom>
          <a:gradFill>
            <a:gsLst>
              <a:gs pos="0">
                <a:srgbClr val="E5E5E5"/>
              </a:gs>
              <a:gs pos="0">
                <a:schemeClr val="accent1">
                  <a:tint val="44500"/>
                  <a:satMod val="160000"/>
                </a:schemeClr>
              </a:gs>
              <a:gs pos="71000">
                <a:schemeClr val="bg1"/>
              </a:gs>
              <a:gs pos="43000">
                <a:srgbClr val="E5E5E5"/>
              </a:gs>
              <a:gs pos="0">
                <a:srgbClr val="E5E5E5"/>
              </a:gs>
            </a:gsLst>
            <a:lin ang="2154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-304799" y="6358157"/>
            <a:ext cx="5205271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1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800" b="0" i="0" u="none" strike="noStrike" cap="none" normalizeH="0" baseline="0" dirty="0" smtClean="0">
                <a:ln>
                  <a:noFill/>
                </a:ln>
                <a:solidFill>
                  <a:srgbClr val="666666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All material herein © 2005 – 2016 Agoda group of companies. All rights reserved.</a:t>
            </a:r>
            <a:br>
              <a:rPr kumimoji="0" lang="en-US" sz="800" b="0" i="0" u="none" strike="noStrike" cap="none" normalizeH="0" baseline="0" dirty="0" smtClean="0">
                <a:ln>
                  <a:noFill/>
                </a:ln>
                <a:solidFill>
                  <a:srgbClr val="666666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</a:br>
            <a:r>
              <a:rPr kumimoji="0" lang="en-US" sz="800" b="0" i="0" u="none" strike="noStrike" cap="none" normalizeH="0" baseline="0" dirty="0" smtClean="0">
                <a:ln>
                  <a:noFill/>
                </a:ln>
                <a:solidFill>
                  <a:srgbClr val="666666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AGODA ® is a registered trademark of AGIP LLC, used under license by Agoda Company Pte. Ltd.</a:t>
            </a:r>
            <a:br>
              <a:rPr kumimoji="0" lang="en-US" sz="800" b="0" i="0" u="none" strike="noStrike" cap="none" normalizeH="0" baseline="0" dirty="0" smtClean="0">
                <a:ln>
                  <a:noFill/>
                </a:ln>
                <a:solidFill>
                  <a:srgbClr val="666666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</a:br>
            <a:r>
              <a:rPr kumimoji="0" lang="en-US" sz="800" b="0" i="0" u="none" strike="noStrike" cap="none" normalizeH="0" baseline="0" dirty="0" smtClean="0">
                <a:ln>
                  <a:noFill/>
                </a:ln>
                <a:solidFill>
                  <a:srgbClr val="666666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Agoda is part of The Priceline Group (NASDAQ:PCLN). Internal use only. Proprietary &amp; confidential.</a:t>
            </a: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11567018" y="6119084"/>
            <a:ext cx="165109" cy="16158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fld id="{C4A5032D-A706-45B2-A1B5-4389052FDDCB}" type="slidenum">
              <a:rPr lang="en-US" sz="1050" smtClean="0">
                <a:solidFill>
                  <a:srgbClr val="323232"/>
                </a:solidFill>
              </a:rPr>
              <a:pPr algn="r"/>
              <a:t>‹#›</a:t>
            </a:fld>
            <a:endParaRPr lang="en-US" sz="1050" dirty="0">
              <a:solidFill>
                <a:srgbClr val="323232"/>
              </a:solidFill>
            </a:endParaRPr>
          </a:p>
        </p:txBody>
      </p:sp>
      <p:pic>
        <p:nvPicPr>
          <p:cNvPr id="11" name="Picture 10" descr="slide_style-01.png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9333"/>
          <a:stretch/>
        </p:blipFill>
        <p:spPr>
          <a:xfrm>
            <a:off x="0" y="0"/>
            <a:ext cx="12192000" cy="4571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0200" y="6400800"/>
            <a:ext cx="2895600" cy="416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44727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3682919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0" y="6324600"/>
            <a:ext cx="12192000" cy="533400"/>
          </a:xfrm>
          <a:prstGeom prst="rect">
            <a:avLst/>
          </a:prstGeom>
          <a:gradFill>
            <a:gsLst>
              <a:gs pos="0">
                <a:srgbClr val="E5E5E5"/>
              </a:gs>
              <a:gs pos="0">
                <a:schemeClr val="accent1">
                  <a:tint val="44500"/>
                  <a:satMod val="160000"/>
                </a:schemeClr>
              </a:gs>
              <a:gs pos="71000">
                <a:schemeClr val="bg1"/>
              </a:gs>
              <a:gs pos="43000">
                <a:srgbClr val="E5E5E5"/>
              </a:gs>
              <a:gs pos="0">
                <a:srgbClr val="E5E5E5"/>
              </a:gs>
            </a:gsLst>
            <a:lin ang="2154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-304799" y="6358157"/>
            <a:ext cx="5176417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1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800" b="0" i="0" u="none" strike="noStrike" cap="none" normalizeH="0" baseline="0" dirty="0" smtClean="0">
                <a:ln>
                  <a:noFill/>
                </a:ln>
                <a:solidFill>
                  <a:srgbClr val="666666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All material herein © 2005 – 2016 Agoda group of companies. All rights reserved.</a:t>
            </a:r>
            <a:br>
              <a:rPr kumimoji="0" lang="en-US" sz="800" b="0" i="0" u="none" strike="noStrike" cap="none" normalizeH="0" baseline="0" dirty="0" smtClean="0">
                <a:ln>
                  <a:noFill/>
                </a:ln>
                <a:solidFill>
                  <a:srgbClr val="666666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</a:br>
            <a:r>
              <a:rPr kumimoji="0" lang="en-US" sz="800" b="0" i="0" u="none" strike="noStrike" cap="none" normalizeH="0" baseline="0" dirty="0" smtClean="0">
                <a:ln>
                  <a:noFill/>
                </a:ln>
                <a:solidFill>
                  <a:srgbClr val="666666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AGODA ® is a registered trademark of AGIP LLC, used under license by Agoda Company Pte. Ltd.</a:t>
            </a:r>
            <a:br>
              <a:rPr kumimoji="0" lang="en-US" sz="800" b="0" i="0" u="none" strike="noStrike" cap="none" normalizeH="0" baseline="0" dirty="0" smtClean="0">
                <a:ln>
                  <a:noFill/>
                </a:ln>
                <a:solidFill>
                  <a:srgbClr val="666666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</a:br>
            <a:r>
              <a:rPr kumimoji="0" lang="en-US" sz="800" b="0" i="0" u="none" strike="noStrike" cap="none" normalizeH="0" baseline="0" dirty="0" smtClean="0">
                <a:ln>
                  <a:noFill/>
                </a:ln>
                <a:solidFill>
                  <a:srgbClr val="666666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Agoda is part of The Priceline Group (NASDAQ:PCLN). Internal use only. Proprietary &amp; confidential.</a:t>
            </a: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11567018" y="6119084"/>
            <a:ext cx="165109" cy="16158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fld id="{C4A5032D-A706-45B2-A1B5-4389052FDDCB}" type="slidenum">
              <a:rPr lang="en-US" sz="1050" smtClean="0">
                <a:solidFill>
                  <a:srgbClr val="323232"/>
                </a:solidFill>
              </a:rPr>
              <a:pPr algn="r"/>
              <a:t>‹#›</a:t>
            </a:fld>
            <a:endParaRPr lang="en-US" sz="1050" dirty="0">
              <a:solidFill>
                <a:srgbClr val="323232"/>
              </a:solidFill>
            </a:endParaRPr>
          </a:p>
        </p:txBody>
      </p:sp>
      <p:pic>
        <p:nvPicPr>
          <p:cNvPr id="11" name="Picture 10" descr="slide_style-01.png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9333"/>
          <a:stretch/>
        </p:blipFill>
        <p:spPr>
          <a:xfrm>
            <a:off x="0" y="0"/>
            <a:ext cx="12192000" cy="4571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0200" y="6400800"/>
            <a:ext cx="2895600" cy="416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86342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1.png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7" Type="http://schemas.openxmlformats.org/officeDocument/2006/relationships/image" Target="../media/image69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8.png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33717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1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Scala Workshop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11</a:t>
            </a:r>
            <a:r>
              <a:rPr lang="en-US" dirty="0" smtClean="0"/>
              <a:t>/19/16</a:t>
            </a:r>
            <a:endParaRPr lang="en-US" dirty="0"/>
          </a:p>
        </p:txBody>
      </p:sp>
      <p:sp>
        <p:nvSpPr>
          <p:cNvPr id="19" name="Subtitle 2"/>
          <p:cNvSpPr txBox="1">
            <a:spLocks/>
          </p:cNvSpPr>
          <p:nvPr/>
        </p:nvSpPr>
        <p:spPr>
          <a:xfrm>
            <a:off x="1844842" y="3168358"/>
            <a:ext cx="8534400" cy="864185"/>
          </a:xfrm>
          <a:prstGeom prst="rect">
            <a:avLst/>
          </a:prstGeom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kern="1200">
                <a:solidFill>
                  <a:srgbClr val="323232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 smtClean="0">
                <a:solidFill>
                  <a:schemeClr val="bg2">
                    <a:lumMod val="50000"/>
                  </a:schemeClr>
                </a:solidFill>
              </a:rPr>
              <a:t>Levon Ter-Isahakyan</a:t>
            </a:r>
            <a:endParaRPr lang="en-US" sz="4000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4984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406400" y="509885"/>
            <a:ext cx="5537200" cy="615553"/>
          </a:xfrm>
        </p:spPr>
        <p:txBody>
          <a:bodyPr/>
          <a:lstStyle/>
          <a:p>
            <a:r>
              <a:rPr lang="en-US" sz="4000" dirty="0" smtClean="0"/>
              <a:t>Classes Continued</a:t>
            </a:r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6096000" y="457199"/>
            <a:ext cx="0" cy="58674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"/>
          <p:cNvSpPr txBox="1">
            <a:spLocks/>
          </p:cNvSpPr>
          <p:nvPr/>
        </p:nvSpPr>
        <p:spPr>
          <a:xfrm>
            <a:off x="6400800" y="509884"/>
            <a:ext cx="5537200" cy="61555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b="0" kern="1200">
                <a:solidFill>
                  <a:srgbClr val="666666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0" dirty="0" smtClean="0"/>
              <a:t>Companion Objects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6400" y="1464049"/>
            <a:ext cx="2504762" cy="733333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304800" y="2475812"/>
            <a:ext cx="2108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Extending classes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6400" y="2976614"/>
            <a:ext cx="3657143" cy="828571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304800" y="4109003"/>
            <a:ext cx="2108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Case classes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8691" y="4577272"/>
            <a:ext cx="4552381" cy="23809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8691" y="5062117"/>
            <a:ext cx="4666667" cy="333333"/>
          </a:xfrm>
          <a:prstGeom prst="rect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6540500" y="1239243"/>
            <a:ext cx="52578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Object with same name as class or tra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Defined in same source file as associated class or tra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Has access rights to class or trai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Can access private methods and fields</a:t>
            </a: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53200" y="2899995"/>
            <a:ext cx="3276190" cy="2047619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53200" y="5638800"/>
            <a:ext cx="3190476" cy="542857"/>
          </a:xfrm>
          <a:prstGeom prst="rect">
            <a:avLst/>
          </a:prstGeom>
        </p:spPr>
      </p:pic>
      <p:sp>
        <p:nvSpPr>
          <p:cNvPr id="27" name="TextBox 26"/>
          <p:cNvSpPr txBox="1"/>
          <p:nvPr/>
        </p:nvSpPr>
        <p:spPr>
          <a:xfrm>
            <a:off x="6535882" y="5246101"/>
            <a:ext cx="2108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Apply metho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24100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5" grpId="0"/>
      <p:bldP spid="15" grpId="0"/>
      <p:bldP spid="24" grpId="0"/>
      <p:bldP spid="27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6082145" y="457200"/>
            <a:ext cx="0" cy="58674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4945" y="1371600"/>
            <a:ext cx="2180952" cy="590476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4945" y="2185297"/>
            <a:ext cx="3676190" cy="495238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>
            <a:off x="468745" y="2788375"/>
            <a:ext cx="3276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Extending multiple traits</a:t>
            </a:r>
            <a:endParaRPr lang="en-US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4945" y="3265547"/>
            <a:ext cx="1561905" cy="523810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4945" y="3964207"/>
            <a:ext cx="3600000" cy="666667"/>
          </a:xfrm>
          <a:prstGeom prst="rect">
            <a:avLst/>
          </a:prstGeom>
        </p:spPr>
      </p:pic>
      <p:sp>
        <p:nvSpPr>
          <p:cNvPr id="20" name="Text Placeholder 1"/>
          <p:cNvSpPr txBox="1">
            <a:spLocks/>
          </p:cNvSpPr>
          <p:nvPr/>
        </p:nvSpPr>
        <p:spPr>
          <a:xfrm>
            <a:off x="544945" y="517943"/>
            <a:ext cx="5537200" cy="61555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b="0" kern="1200">
                <a:solidFill>
                  <a:srgbClr val="666666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0" dirty="0" smtClean="0"/>
              <a:t>Traits</a:t>
            </a:r>
            <a:endParaRPr lang="en-US" dirty="0"/>
          </a:p>
        </p:txBody>
      </p:sp>
      <p:sp>
        <p:nvSpPr>
          <p:cNvPr id="21" name="TextBox 20"/>
          <p:cNvSpPr txBox="1"/>
          <p:nvPr/>
        </p:nvSpPr>
        <p:spPr>
          <a:xfrm>
            <a:off x="6381045" y="641053"/>
            <a:ext cx="3276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Traits extending traits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15478" y="1295261"/>
            <a:ext cx="3695238" cy="1447619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6304856" y="3080881"/>
            <a:ext cx="3276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And then….?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04856" y="3760882"/>
            <a:ext cx="3771429" cy="866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73834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1" grpId="0"/>
      <p:bldP spid="22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"/>
          <p:cNvSpPr txBox="1">
            <a:spLocks/>
          </p:cNvSpPr>
          <p:nvPr/>
        </p:nvSpPr>
        <p:spPr>
          <a:xfrm>
            <a:off x="544944" y="517943"/>
            <a:ext cx="11037455" cy="61555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b="0" kern="1200">
                <a:solidFill>
                  <a:srgbClr val="666666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0" dirty="0" smtClean="0"/>
              <a:t>Parametrized Classes and Traits 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88879" y="1600200"/>
            <a:ext cx="3361905" cy="1380952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81952" y="3581400"/>
            <a:ext cx="2714286" cy="67619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81952" y="4343400"/>
            <a:ext cx="4219048" cy="28571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88879" y="4958317"/>
            <a:ext cx="3961905" cy="638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20100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6082145" y="457200"/>
            <a:ext cx="0" cy="58674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"/>
          <p:cNvSpPr txBox="1">
            <a:spLocks/>
          </p:cNvSpPr>
          <p:nvPr/>
        </p:nvSpPr>
        <p:spPr>
          <a:xfrm>
            <a:off x="6620164" y="517943"/>
            <a:ext cx="5537200" cy="61555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b="0" kern="1200">
                <a:solidFill>
                  <a:srgbClr val="666666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0" dirty="0" smtClean="0"/>
              <a:t>Extracting type</a:t>
            </a:r>
            <a:endParaRPr lang="en-US" dirty="0"/>
          </a:p>
        </p:txBody>
      </p:sp>
      <p:sp>
        <p:nvSpPr>
          <p:cNvPr id="24" name="Text Placeholder 1"/>
          <p:cNvSpPr txBox="1">
            <a:spLocks/>
          </p:cNvSpPr>
          <p:nvPr/>
        </p:nvSpPr>
        <p:spPr>
          <a:xfrm>
            <a:off x="186907" y="577924"/>
            <a:ext cx="5784381" cy="61555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b="0" kern="1200">
                <a:solidFill>
                  <a:srgbClr val="666666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0" dirty="0" smtClean="0"/>
              <a:t>Match and Case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" y="1600200"/>
            <a:ext cx="2276190" cy="1447619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6620164" y="3733800"/>
            <a:ext cx="4038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Try for yourself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293255" y="3733800"/>
            <a:ext cx="4038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Try for yourself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16306" y="1676400"/>
            <a:ext cx="3822737" cy="1723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47537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2" grpId="0"/>
      <p:bldP spid="14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6082145" y="457200"/>
            <a:ext cx="0" cy="58674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"/>
          <p:cNvSpPr txBox="1">
            <a:spLocks/>
          </p:cNvSpPr>
          <p:nvPr/>
        </p:nvSpPr>
        <p:spPr>
          <a:xfrm>
            <a:off x="6620164" y="517943"/>
            <a:ext cx="5537200" cy="61555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b="0" kern="1200">
                <a:solidFill>
                  <a:srgbClr val="666666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0" dirty="0" smtClean="0"/>
              <a:t>Apply and </a:t>
            </a:r>
            <a:r>
              <a:rPr lang="en-US" sz="4000" dirty="0" err="1" smtClean="0"/>
              <a:t>Unapply</a:t>
            </a:r>
            <a:endParaRPr lang="en-US" dirty="0"/>
          </a:p>
        </p:txBody>
      </p:sp>
      <p:sp>
        <p:nvSpPr>
          <p:cNvPr id="24" name="Text Placeholder 1"/>
          <p:cNvSpPr txBox="1">
            <a:spLocks/>
          </p:cNvSpPr>
          <p:nvPr/>
        </p:nvSpPr>
        <p:spPr>
          <a:xfrm>
            <a:off x="186907" y="577924"/>
            <a:ext cx="5784381" cy="61555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b="0" kern="1200">
                <a:solidFill>
                  <a:srgbClr val="666666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0" dirty="0" smtClean="0"/>
              <a:t>Pattern matching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6477000" y="4901209"/>
            <a:ext cx="4038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Try for yourself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6291" y="1511257"/>
            <a:ext cx="5000000" cy="190476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77000" y="1436400"/>
            <a:ext cx="4714286" cy="3161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42470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2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6082145" y="457200"/>
            <a:ext cx="0" cy="58674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"/>
          <p:cNvSpPr txBox="1">
            <a:spLocks/>
          </p:cNvSpPr>
          <p:nvPr/>
        </p:nvSpPr>
        <p:spPr>
          <a:xfrm>
            <a:off x="544945" y="517943"/>
            <a:ext cx="5537200" cy="61555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b="0" kern="1200">
                <a:solidFill>
                  <a:srgbClr val="666666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0" dirty="0" smtClean="0"/>
              <a:t>Looping</a:t>
            </a:r>
            <a:endParaRPr lang="en-US" dirty="0"/>
          </a:p>
        </p:txBody>
      </p:sp>
      <p:sp>
        <p:nvSpPr>
          <p:cNvPr id="14" name="Text Placeholder 1"/>
          <p:cNvSpPr txBox="1">
            <a:spLocks/>
          </p:cNvSpPr>
          <p:nvPr/>
        </p:nvSpPr>
        <p:spPr>
          <a:xfrm>
            <a:off x="6477000" y="517943"/>
            <a:ext cx="5537200" cy="61555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b="0" kern="1200">
                <a:solidFill>
                  <a:srgbClr val="666666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0" dirty="0" smtClean="0"/>
              <a:t>Think Functional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4945" y="1291857"/>
            <a:ext cx="2685714" cy="3152381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77000" y="1271075"/>
            <a:ext cx="2857143" cy="63809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77000" y="2528274"/>
            <a:ext cx="2876190" cy="109523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4945" y="4602599"/>
            <a:ext cx="3323809" cy="1542857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77000" y="4602599"/>
            <a:ext cx="3161905" cy="561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54933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6082145" y="457200"/>
            <a:ext cx="0" cy="58674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"/>
          <p:cNvSpPr txBox="1">
            <a:spLocks/>
          </p:cNvSpPr>
          <p:nvPr/>
        </p:nvSpPr>
        <p:spPr>
          <a:xfrm>
            <a:off x="6620164" y="517943"/>
            <a:ext cx="5537200" cy="61555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b="0" kern="1200">
                <a:solidFill>
                  <a:srgbClr val="666666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0" dirty="0" smtClean="0"/>
              <a:t>Try for yourself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6907" y="1524000"/>
            <a:ext cx="5895238" cy="2000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6907" y="4800600"/>
            <a:ext cx="4295238" cy="1257143"/>
          </a:xfrm>
          <a:prstGeom prst="rect">
            <a:avLst/>
          </a:prstGeom>
        </p:spPr>
      </p:pic>
      <p:sp>
        <p:nvSpPr>
          <p:cNvPr id="24" name="Text Placeholder 1"/>
          <p:cNvSpPr txBox="1">
            <a:spLocks/>
          </p:cNvSpPr>
          <p:nvPr/>
        </p:nvSpPr>
        <p:spPr>
          <a:xfrm>
            <a:off x="297764" y="576635"/>
            <a:ext cx="5537200" cy="61555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b="0" kern="1200">
                <a:solidFill>
                  <a:srgbClr val="666666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0" dirty="0" smtClean="0"/>
              <a:t>Map, Reduce, Fold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6620164" y="2492276"/>
            <a:ext cx="48006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Given: String of words separated by space find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he </a:t>
            </a:r>
            <a:r>
              <a:rPr lang="en-US" dirty="0"/>
              <a:t>longest wor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most common wor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most common let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reate a map from letter to a set of words it appear in</a:t>
            </a:r>
          </a:p>
          <a:p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20164" y="4876800"/>
            <a:ext cx="3619048" cy="40952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621" y="3589342"/>
            <a:ext cx="6009524" cy="904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81565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8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1"/>
          <p:cNvSpPr txBox="1">
            <a:spLocks/>
          </p:cNvSpPr>
          <p:nvPr/>
        </p:nvSpPr>
        <p:spPr>
          <a:xfrm>
            <a:off x="297764" y="576635"/>
            <a:ext cx="11513236" cy="61555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b="0" kern="1200">
                <a:solidFill>
                  <a:srgbClr val="666666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0" dirty="0" smtClean="0"/>
              <a:t>Solutions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3615" y="3606365"/>
            <a:ext cx="3666667" cy="580952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3615" y="4593551"/>
            <a:ext cx="2723809" cy="110476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54410" y="3374503"/>
            <a:ext cx="3066667" cy="121904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54410" y="4800600"/>
            <a:ext cx="3866667" cy="1276190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3200400" y="1234590"/>
            <a:ext cx="48006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Given: String of words separated by space find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he </a:t>
            </a:r>
            <a:r>
              <a:rPr lang="en-US" dirty="0"/>
              <a:t>longest wor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most common wor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most common let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reate a map from letter to a set of words it appear i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19643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6082145" y="457200"/>
            <a:ext cx="0" cy="58674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"/>
          <p:cNvSpPr txBox="1">
            <a:spLocks/>
          </p:cNvSpPr>
          <p:nvPr/>
        </p:nvSpPr>
        <p:spPr>
          <a:xfrm>
            <a:off x="6620164" y="517943"/>
            <a:ext cx="5537200" cy="61555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b="0" kern="1200">
                <a:solidFill>
                  <a:srgbClr val="666666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0" dirty="0" smtClean="0"/>
              <a:t>Try for yourself</a:t>
            </a:r>
            <a:endParaRPr lang="en-US" dirty="0"/>
          </a:p>
        </p:txBody>
      </p:sp>
      <p:sp>
        <p:nvSpPr>
          <p:cNvPr id="24" name="Text Placeholder 1"/>
          <p:cNvSpPr txBox="1">
            <a:spLocks/>
          </p:cNvSpPr>
          <p:nvPr/>
        </p:nvSpPr>
        <p:spPr>
          <a:xfrm>
            <a:off x="186907" y="577924"/>
            <a:ext cx="5784381" cy="61555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b="0" kern="1200">
                <a:solidFill>
                  <a:srgbClr val="666666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0" dirty="0" smtClean="0"/>
              <a:t>Option instead of NULL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1794632"/>
            <a:ext cx="4704762" cy="73333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200" y="3024233"/>
            <a:ext cx="4123809" cy="73333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7200" y="4595847"/>
            <a:ext cx="4209524" cy="561905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48666" y="1524000"/>
            <a:ext cx="5780952" cy="2342857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48666" y="3657600"/>
            <a:ext cx="5771429" cy="1342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44810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1"/>
          <p:cNvSpPr txBox="1">
            <a:spLocks/>
          </p:cNvSpPr>
          <p:nvPr/>
        </p:nvSpPr>
        <p:spPr>
          <a:xfrm>
            <a:off x="186907" y="577924"/>
            <a:ext cx="9414293" cy="61555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b="0" kern="1200">
                <a:solidFill>
                  <a:srgbClr val="666666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0" dirty="0" smtClean="0"/>
              <a:t>Case Study – Queue the </a:t>
            </a:r>
            <a:r>
              <a:rPr lang="en-US" sz="4000" dirty="0" err="1" smtClean="0"/>
              <a:t>scala</a:t>
            </a:r>
            <a:r>
              <a:rPr lang="en-US" sz="4000" dirty="0" smtClean="0"/>
              <a:t> way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1524000"/>
            <a:ext cx="3990476" cy="942857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422476" y="2863094"/>
            <a:ext cx="5410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What is the </a:t>
            </a:r>
            <a:r>
              <a:rPr lang="en-US" dirty="0" err="1" smtClean="0"/>
              <a:t>scala</a:t>
            </a:r>
            <a:r>
              <a:rPr lang="en-US" dirty="0" smtClean="0"/>
              <a:t> way of defining a generic queue?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200" y="3657600"/>
            <a:ext cx="4390476" cy="895238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455271" y="4793346"/>
            <a:ext cx="5410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Why is this better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82248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20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406400" y="509885"/>
            <a:ext cx="11379200" cy="615553"/>
          </a:xfrm>
        </p:spPr>
        <p:txBody>
          <a:bodyPr/>
          <a:lstStyle/>
          <a:p>
            <a:r>
              <a:rPr lang="en-US" sz="4000" dirty="0" smtClean="0"/>
              <a:t>New SBT Project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43200" y="1371600"/>
            <a:ext cx="5713429" cy="4643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0360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6082145" y="457200"/>
            <a:ext cx="0" cy="58674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1"/>
          <p:cNvSpPr txBox="1">
            <a:spLocks/>
          </p:cNvSpPr>
          <p:nvPr/>
        </p:nvSpPr>
        <p:spPr>
          <a:xfrm>
            <a:off x="186907" y="577924"/>
            <a:ext cx="5784381" cy="61555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b="0" kern="1200">
                <a:solidFill>
                  <a:srgbClr val="666666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0" dirty="0" smtClean="0"/>
              <a:t>Advanced Concepts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5085" y="1396947"/>
            <a:ext cx="5333333" cy="147619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315439" y="3135504"/>
            <a:ext cx="4038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Can we make this look nicer?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5085" y="3532884"/>
            <a:ext cx="1533333" cy="23809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5439" y="3891747"/>
            <a:ext cx="3819048" cy="609524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315439" y="4703516"/>
            <a:ext cx="4038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What about precision?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6472" y="5247570"/>
            <a:ext cx="5523809" cy="904762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6322541" y="1193477"/>
            <a:ext cx="4038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Can we make this look nicer?</a:t>
            </a:r>
            <a:endParaRPr lang="en-US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71123" y="1711335"/>
            <a:ext cx="5752381" cy="866667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6327364" y="2766172"/>
            <a:ext cx="4038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Configurable precision and look nice?</a:t>
            </a:r>
            <a:endParaRPr lang="en-US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71123" y="3333296"/>
            <a:ext cx="5428571" cy="1676190"/>
          </a:xfrm>
          <a:prstGeom prst="rect">
            <a:avLst/>
          </a:prstGeom>
        </p:spPr>
      </p:pic>
      <p:sp>
        <p:nvSpPr>
          <p:cNvPr id="25" name="TextBox 24"/>
          <p:cNvSpPr txBox="1"/>
          <p:nvPr/>
        </p:nvSpPr>
        <p:spPr>
          <a:xfrm>
            <a:off x="6371123" y="5247570"/>
            <a:ext cx="4038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Try for yourself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94098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16" grpId="0"/>
      <p:bldP spid="19" grpId="0"/>
      <p:bldP spid="22" grpId="0"/>
      <p:bldP spid="25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33717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Questions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5955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33717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The EN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2486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406400" y="509885"/>
            <a:ext cx="11379200" cy="615553"/>
          </a:xfrm>
        </p:spPr>
        <p:txBody>
          <a:bodyPr/>
          <a:lstStyle/>
          <a:p>
            <a:r>
              <a:rPr lang="en-US" sz="4000" dirty="0" smtClean="0"/>
              <a:t>Basic </a:t>
            </a:r>
            <a:r>
              <a:rPr lang="en-US" sz="4000" dirty="0" err="1" smtClean="0"/>
              <a:t>Build.sbt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72190" y="2209952"/>
            <a:ext cx="6847619" cy="2438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1076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406400" y="509885"/>
            <a:ext cx="11379200" cy="615553"/>
          </a:xfrm>
        </p:spPr>
        <p:txBody>
          <a:bodyPr/>
          <a:lstStyle/>
          <a:p>
            <a:r>
              <a:rPr lang="en-US" sz="4000" dirty="0" smtClean="0"/>
              <a:t>Hello World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81714" y="2443285"/>
            <a:ext cx="6228571" cy="1971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12731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406400" y="509885"/>
            <a:ext cx="11379200" cy="615553"/>
          </a:xfrm>
        </p:spPr>
        <p:txBody>
          <a:bodyPr/>
          <a:lstStyle/>
          <a:p>
            <a:r>
              <a:rPr lang="en-US" sz="4000" dirty="0" smtClean="0"/>
              <a:t>Dependencies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43619" y="1981381"/>
            <a:ext cx="6904762" cy="2895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053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406400" y="509885"/>
            <a:ext cx="11379200" cy="615553"/>
          </a:xfrm>
        </p:spPr>
        <p:txBody>
          <a:bodyPr/>
          <a:lstStyle/>
          <a:p>
            <a:r>
              <a:rPr lang="en-US" sz="4000" dirty="0" smtClean="0"/>
              <a:t>Basic </a:t>
            </a:r>
            <a:r>
              <a:rPr lang="en-US" sz="4000" dirty="0" err="1" smtClean="0"/>
              <a:t>ScalaTests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8381" y="1395666"/>
            <a:ext cx="9895238" cy="4066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79329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406400" y="509885"/>
            <a:ext cx="5675745" cy="615553"/>
          </a:xfrm>
        </p:spPr>
        <p:txBody>
          <a:bodyPr/>
          <a:lstStyle/>
          <a:p>
            <a:r>
              <a:rPr lang="en-US" sz="4000" dirty="0" smtClean="0"/>
              <a:t>Scala Conso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3400" y="1676400"/>
            <a:ext cx="2380952" cy="895238"/>
          </a:xfrm>
          <a:prstGeom prst="rect">
            <a:avLst/>
          </a:prstGeom>
        </p:spPr>
      </p:pic>
      <p:cxnSp>
        <p:nvCxnSpPr>
          <p:cNvPr id="6" name="Straight Connector 5"/>
          <p:cNvCxnSpPr/>
          <p:nvPr/>
        </p:nvCxnSpPr>
        <p:spPr>
          <a:xfrm>
            <a:off x="6082145" y="457200"/>
            <a:ext cx="0" cy="58674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1"/>
          <p:cNvSpPr txBox="1">
            <a:spLocks/>
          </p:cNvSpPr>
          <p:nvPr/>
        </p:nvSpPr>
        <p:spPr>
          <a:xfrm>
            <a:off x="6412065" y="509885"/>
            <a:ext cx="5675745" cy="61555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b="0" kern="1200">
                <a:solidFill>
                  <a:srgbClr val="666666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0" dirty="0" err="1" smtClean="0"/>
              <a:t>Var</a:t>
            </a:r>
            <a:r>
              <a:rPr lang="en-US" sz="4000" dirty="0" smtClean="0"/>
              <a:t> and Val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859" y="2895600"/>
            <a:ext cx="5914286" cy="280952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12065" y="1600200"/>
            <a:ext cx="3142857" cy="847619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6324600" y="2811897"/>
            <a:ext cx="27319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Cannot reassign </a:t>
            </a:r>
            <a:r>
              <a:rPr lang="en-US" dirty="0" err="1" smtClean="0"/>
              <a:t>val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12065" y="3495359"/>
            <a:ext cx="3247619" cy="1142857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6412065" y="4867688"/>
            <a:ext cx="27319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Avoid using </a:t>
            </a:r>
            <a:r>
              <a:rPr lang="en-US" dirty="0" err="1" smtClean="0"/>
              <a:t>va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81295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2" grpId="0"/>
      <p:bldP spid="14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406400" y="509885"/>
            <a:ext cx="5537200" cy="615553"/>
          </a:xfrm>
        </p:spPr>
        <p:txBody>
          <a:bodyPr/>
          <a:lstStyle/>
          <a:p>
            <a:r>
              <a:rPr lang="en-US" sz="4000" dirty="0" smtClean="0"/>
              <a:t>Type Inferenc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6400" y="1676400"/>
            <a:ext cx="4838095" cy="419048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304800" y="2514278"/>
            <a:ext cx="4343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More complex Examp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3267" y="3326685"/>
            <a:ext cx="4961905" cy="542857"/>
          </a:xfrm>
          <a:prstGeom prst="rect">
            <a:avLst/>
          </a:prstGeom>
        </p:spPr>
      </p:pic>
      <p:cxnSp>
        <p:nvCxnSpPr>
          <p:cNvPr id="7" name="Straight Connector 6"/>
          <p:cNvCxnSpPr/>
          <p:nvPr/>
        </p:nvCxnSpPr>
        <p:spPr>
          <a:xfrm>
            <a:off x="6082145" y="457200"/>
            <a:ext cx="0" cy="58674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"/>
          <p:cNvSpPr txBox="1">
            <a:spLocks/>
          </p:cNvSpPr>
          <p:nvPr/>
        </p:nvSpPr>
        <p:spPr>
          <a:xfrm>
            <a:off x="6400800" y="457200"/>
            <a:ext cx="5537200" cy="61555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b="0" kern="1200">
                <a:solidFill>
                  <a:srgbClr val="666666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0" dirty="0" smtClean="0"/>
              <a:t>Method Invocation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62700" y="1676400"/>
            <a:ext cx="1971429" cy="62857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59236" y="2908618"/>
            <a:ext cx="2333333" cy="571429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59236" y="3988687"/>
            <a:ext cx="2152381" cy="38095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0800" y="4918687"/>
            <a:ext cx="2695238" cy="590476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6359236" y="1283956"/>
            <a:ext cx="2514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Omitting parenthesis</a:t>
            </a:r>
            <a:endParaRPr lang="en-US" dirty="0"/>
          </a:p>
        </p:txBody>
      </p:sp>
      <p:sp>
        <p:nvSpPr>
          <p:cNvPr id="16" name="TextBox 15"/>
          <p:cNvSpPr txBox="1"/>
          <p:nvPr/>
        </p:nvSpPr>
        <p:spPr>
          <a:xfrm>
            <a:off x="6359236" y="2514278"/>
            <a:ext cx="2514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One parameter</a:t>
            </a:r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6332955" y="3590874"/>
            <a:ext cx="2514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Multiple parameters</a:t>
            </a:r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6359236" y="4581284"/>
            <a:ext cx="2514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Method chain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3318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8" grpId="0"/>
      <p:bldP spid="15" grpId="0"/>
      <p:bldP spid="16" grpId="0"/>
      <p:bldP spid="17" grpId="0"/>
      <p:bldP spid="18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406400" y="509885"/>
            <a:ext cx="5537200" cy="615553"/>
          </a:xfrm>
        </p:spPr>
        <p:txBody>
          <a:bodyPr/>
          <a:lstStyle/>
          <a:p>
            <a:r>
              <a:rPr lang="en-US" sz="4000" dirty="0" smtClean="0"/>
              <a:t>Classes</a:t>
            </a:r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6082145" y="457200"/>
            <a:ext cx="0" cy="58674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"/>
          <p:cNvSpPr txBox="1">
            <a:spLocks/>
          </p:cNvSpPr>
          <p:nvPr/>
        </p:nvSpPr>
        <p:spPr>
          <a:xfrm>
            <a:off x="6400800" y="457200"/>
            <a:ext cx="5537200" cy="61555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b="0" kern="1200">
                <a:solidFill>
                  <a:srgbClr val="666666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0" dirty="0" smtClean="0"/>
              <a:t>Method Definitions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6400" y="1425002"/>
            <a:ext cx="1885714" cy="1238095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228600" y="2975991"/>
            <a:ext cx="4343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Class Parameters – Hidden members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4800" y="3585381"/>
            <a:ext cx="3161905" cy="914286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256309" y="4739725"/>
            <a:ext cx="4343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Class Parameters – Public members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2509" y="5216307"/>
            <a:ext cx="3114286" cy="923810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86945" y="1830716"/>
            <a:ext cx="3676190" cy="2647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72011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20" grpId="0"/>
      <p:bldP spid="21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8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4.92702619509000070000E+000&quot;&gt;&lt;m_msothmcolidx val=&quot;0&quot;/&gt;&lt;m_rgb r=&quot;1A&quot; g=&quot;AC&quot; b=&quot;5B&quot;/&gt;&lt;m_nBrightness val=&quot;0&quot;/&gt;&lt;/elem&gt;&lt;elem m_fUsage=&quot;2.24867844010000000000E+000&quot;&gt;&lt;m_msothmcolidx val=&quot;0&quot;/&gt;&lt;m_rgb r=&quot;02&quot; g=&quot;83&quot; b=&quot;FF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goda Content Page Background">
  <a:themeElements>
    <a:clrScheme name="Custom 1">
      <a:dk1>
        <a:srgbClr val="7F7F7F"/>
      </a:dk1>
      <a:lt1>
        <a:sysClr val="window" lastClr="FFFFFF"/>
      </a:lt1>
      <a:dk2>
        <a:srgbClr val="7F7F7F"/>
      </a:dk2>
      <a:lt2>
        <a:srgbClr val="FFFFFF"/>
      </a:lt2>
      <a:accent1>
        <a:srgbClr val="7F7F7F"/>
      </a:accent1>
      <a:accent2>
        <a:srgbClr val="FF0000"/>
      </a:accent2>
      <a:accent3>
        <a:srgbClr val="1AAC5B"/>
      </a:accent3>
      <a:accent4>
        <a:srgbClr val="9436D4"/>
      </a:accent4>
      <a:accent5>
        <a:srgbClr val="0283FF"/>
      </a:accent5>
      <a:accent6>
        <a:srgbClr val="F79D11"/>
      </a:accent6>
      <a:hlink>
        <a:srgbClr val="0000FF"/>
      </a:hlink>
      <a:folHlink>
        <a:srgbClr val="800080"/>
      </a:folHlink>
    </a:clrScheme>
    <a:fontScheme name="Agoda">
      <a:majorFont>
        <a:latin typeface="Arial Rounded MT Bold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72D3730E-AB7C-447B-83C6-A79F3207B9E7}" vid="{538A21B6-535A-4614-96D5-11DF32AFCCF8}"/>
    </a:ext>
  </a:extLst>
</a:theme>
</file>

<file path=ppt/theme/theme2.xml><?xml version="1.0" encoding="utf-8"?>
<a:theme xmlns:a="http://schemas.openxmlformats.org/drawingml/2006/main" name="1_Agoda Content Page Background">
  <a:themeElements>
    <a:clrScheme name="Custom 1">
      <a:dk1>
        <a:srgbClr val="7F7F7F"/>
      </a:dk1>
      <a:lt1>
        <a:sysClr val="window" lastClr="FFFFFF"/>
      </a:lt1>
      <a:dk2>
        <a:srgbClr val="7F7F7F"/>
      </a:dk2>
      <a:lt2>
        <a:srgbClr val="FFFFFF"/>
      </a:lt2>
      <a:accent1>
        <a:srgbClr val="7F7F7F"/>
      </a:accent1>
      <a:accent2>
        <a:srgbClr val="FF0000"/>
      </a:accent2>
      <a:accent3>
        <a:srgbClr val="1AAC5B"/>
      </a:accent3>
      <a:accent4>
        <a:srgbClr val="9436D4"/>
      </a:accent4>
      <a:accent5>
        <a:srgbClr val="0283FF"/>
      </a:accent5>
      <a:accent6>
        <a:srgbClr val="F79D11"/>
      </a:accent6>
      <a:hlink>
        <a:srgbClr val="0000FF"/>
      </a:hlink>
      <a:folHlink>
        <a:srgbClr val="800080"/>
      </a:folHlink>
    </a:clrScheme>
    <a:fontScheme name="Agoda">
      <a:majorFont>
        <a:latin typeface="Arial Rounded MT Bold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72D3730E-AB7C-447B-83C6-A79F3207B9E7}" vid="{F830ACF4-521E-414D-8DBA-2894B636DFD2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resentation1</Template>
  <TotalTime>0</TotalTime>
  <Words>274</Words>
  <Application>Microsoft Office PowerPoint</Application>
  <PresentationFormat>Widescreen</PresentationFormat>
  <Paragraphs>75</Paragraphs>
  <Slides>22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0" baseType="lpstr">
      <vt:lpstr>Arial</vt:lpstr>
      <vt:lpstr>Arial Rounded MT Bold</vt:lpstr>
      <vt:lpstr>Calibri</vt:lpstr>
      <vt:lpstr>Courier New</vt:lpstr>
      <vt:lpstr>Wingdings</vt:lpstr>
      <vt:lpstr>Agoda Content Page Background</vt:lpstr>
      <vt:lpstr>1_Agoda Content Page Background</vt:lpstr>
      <vt:lpstr>think-cell Slide</vt:lpstr>
      <vt:lpstr>Scala Workshop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Questions?</vt:lpstr>
      <vt:lpstr>The END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6-03-29T12:02:43Z</dcterms:created>
  <dcterms:modified xsi:type="dcterms:W3CDTF">2016-11-19T10:38:54Z</dcterms:modified>
</cp:coreProperties>
</file>